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664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Deploying a distributed AD DS environment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0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Deploying a distributed AD DS environment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loying a distributed AD DS environment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18T15:00:42Z</dcterms:created>
  <dcterms:modified xsi:type="dcterms:W3CDTF">2021-02-18T15:01:1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